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830" r:id="rId2"/>
    <p:sldId id="831" r:id="rId3"/>
    <p:sldId id="835" r:id="rId4"/>
    <p:sldId id="836" r:id="rId5"/>
    <p:sldId id="837" r:id="rId6"/>
    <p:sldId id="838" r:id="rId7"/>
    <p:sldId id="839" r:id="rId8"/>
    <p:sldId id="307" r:id="rId9"/>
    <p:sldId id="816" r:id="rId10"/>
    <p:sldId id="309" r:id="rId11"/>
    <p:sldId id="829" r:id="rId12"/>
    <p:sldId id="843" r:id="rId13"/>
    <p:sldId id="841" r:id="rId14"/>
    <p:sldId id="840" r:id="rId15"/>
    <p:sldId id="842" r:id="rId16"/>
    <p:sldId id="845" r:id="rId17"/>
  </p:sldIdLst>
  <p:sldSz cx="9144000" cy="6858000" type="screen4x3"/>
  <p:notesSz cx="6735763" cy="98694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" initials="П" lastIdx="1" clrIdx="0">
    <p:extLst>
      <p:ext uri="{19B8F6BF-5375-455C-9EA6-DF929625EA0E}">
        <p15:presenceInfo xmlns:p15="http://schemas.microsoft.com/office/powerpoint/2012/main" userId="Пользователь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4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tx1"/>
                </a:solidFill>
              </a:rPr>
              <a:t>Временные затраты посетителей (мин.)</a:t>
            </a:r>
          </a:p>
        </c:rich>
      </c:tx>
      <c:layout>
        <c:manualLayout>
          <c:xMode val="edge"/>
          <c:yMode val="edge"/>
          <c:x val="0.13923023103253077"/>
          <c:y val="2.84466600485250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0-3811-4393-9A97-8CFCF574A38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11-4393-9A97-8CFCF574A38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сле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11-4393-9A97-8CFCF574A3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9369832"/>
        <c:axId val="619369176"/>
      </c:barChart>
      <c:catAx>
        <c:axId val="619369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9369176"/>
        <c:crosses val="autoZero"/>
        <c:auto val="1"/>
        <c:lblAlgn val="ctr"/>
        <c:lblOffset val="100"/>
        <c:noMultiLvlLbl val="0"/>
      </c:catAx>
      <c:valAx>
        <c:axId val="619369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9369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tx1"/>
                </a:solidFill>
              </a:rPr>
              <a:t>Удовлетворенность родителей</a:t>
            </a: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</a:rPr>
              <a:t> До</a:t>
            </a:r>
            <a:r>
              <a:rPr lang="ru-RU" sz="1400" b="1" baseline="0" dirty="0">
                <a:solidFill>
                  <a:schemeClr val="tx1"/>
                </a:solidFill>
              </a:rPr>
              <a:t> и После</a:t>
            </a:r>
            <a:endParaRPr lang="ru-RU" sz="14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0063970382017717"/>
          <c:y val="1.6799112160308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3064216355636474"/>
          <c:y val="0.24658318845385116"/>
          <c:w val="0.65039533937462934"/>
          <c:h val="0.36266593532474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зки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1"/>
                <c:pt idx="0">
                  <c:v>                                      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52-4A7D-89D5-7A1AA73A81E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ни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1"/>
                <c:pt idx="0">
                  <c:v>                                      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6252-4A7D-89D5-7A1AA73A81E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ысокий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1"/>
                <c:pt idx="0">
                  <c:v>                                      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52-4A7D-89D5-7A1AA73A81E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19162832"/>
        <c:axId val="619174968"/>
      </c:barChart>
      <c:catAx>
        <c:axId val="619162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9174968"/>
        <c:crosses val="autoZero"/>
        <c:auto val="1"/>
        <c:lblAlgn val="ctr"/>
        <c:lblOffset val="100"/>
        <c:noMultiLvlLbl val="0"/>
      </c:catAx>
      <c:valAx>
        <c:axId val="619174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9162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973BE26-0F54-4F21-939E-5F3FDD5A988B}" type="presOf" srcId="{F014B99B-BC0F-4D51-AA35-03139CBC5BDF}" destId="{47753778-DDCD-4F66-8671-0963E55AC1AB}" srcOrd="0" destOrd="0" presId="urn:microsoft.com/office/officeart/2005/8/layout/pyramid1"/>
    <dgm:cxn modelId="{04B51F2A-C1FB-4842-98EF-A4DFDDAE3732}" type="presOf" srcId="{CBB2EDB4-08BF-49DB-9282-C363CE23E3D0}" destId="{7099C5AD-A666-455F-9144-31509FAE35FB}" srcOrd="0" destOrd="0" presId="urn:microsoft.com/office/officeart/2005/8/layout/pyramid1"/>
    <dgm:cxn modelId="{EA86ED42-6A90-4B81-BA1F-805CC769B6E9}" type="presOf" srcId="{C055D918-0D48-44D3-9287-CAE1B93EB64A}" destId="{8C222443-D6D5-437E-8A06-7845FF64044F}" srcOrd="0" destOrd="0" presId="urn:microsoft.com/office/officeart/2005/8/layout/pyramid1"/>
    <dgm:cxn modelId="{A7159F69-0B3C-4263-9CDF-505883578833}" type="presOf" srcId="{8380A261-4409-4C6B-8A07-0D64C5422F6D}" destId="{3405B94A-B110-4EB0-B99D-680A85764021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CC6C33D5-971E-4B3D-804F-EEEC9E6B2692}" type="presOf" srcId="{F014B99B-BC0F-4D51-AA35-03139CBC5BDF}" destId="{158BBE6D-1C8E-4142-827F-B1B32D20364B}" srcOrd="1" destOrd="0" presId="urn:microsoft.com/office/officeart/2005/8/layout/pyramid1"/>
    <dgm:cxn modelId="{783304D7-6E5D-473F-A09C-61CA892572B6}" type="presOf" srcId="{8380A261-4409-4C6B-8A07-0D64C5422F6D}" destId="{EB789FCB-B92C-4A52-BB06-4A95FA62001B}" srcOrd="1" destOrd="0" presId="urn:microsoft.com/office/officeart/2005/8/layout/pyramid1"/>
    <dgm:cxn modelId="{AF00D5F7-EB66-4534-ADAD-5E411AADA757}" type="presOf" srcId="{CBB2EDB4-08BF-49DB-9282-C363CE23E3D0}" destId="{8064A9E2-4365-4891-A563-4210D9FE6047}" srcOrd="1" destOrd="0" presId="urn:microsoft.com/office/officeart/2005/8/layout/pyramid1"/>
    <dgm:cxn modelId="{776D1F11-FBFF-4672-8524-4A1C1EF57120}" type="presParOf" srcId="{8C222443-D6D5-437E-8A06-7845FF64044F}" destId="{8E592AC7-B094-488F-86DE-8B46AA43A5F7}" srcOrd="0" destOrd="0" presId="urn:microsoft.com/office/officeart/2005/8/layout/pyramid1"/>
    <dgm:cxn modelId="{25A07EA2-F265-4258-B148-CCDC2DCB67CD}" type="presParOf" srcId="{8E592AC7-B094-488F-86DE-8B46AA43A5F7}" destId="{47753778-DDCD-4F66-8671-0963E55AC1AB}" srcOrd="0" destOrd="0" presId="urn:microsoft.com/office/officeart/2005/8/layout/pyramid1"/>
    <dgm:cxn modelId="{89DA8EC3-ECBE-4AAF-8A59-7D29BCFA7530}" type="presParOf" srcId="{8E592AC7-B094-488F-86DE-8B46AA43A5F7}" destId="{158BBE6D-1C8E-4142-827F-B1B32D20364B}" srcOrd="1" destOrd="0" presId="urn:microsoft.com/office/officeart/2005/8/layout/pyramid1"/>
    <dgm:cxn modelId="{2B945DB0-2D4E-4D9C-9D9C-255460EEC0C9}" type="presParOf" srcId="{8C222443-D6D5-437E-8A06-7845FF64044F}" destId="{08609C55-E487-4600-AFD0-8994D3888F22}" srcOrd="1" destOrd="0" presId="urn:microsoft.com/office/officeart/2005/8/layout/pyramid1"/>
    <dgm:cxn modelId="{12D447AB-405F-4178-930D-2DE10C4E4708}" type="presParOf" srcId="{08609C55-E487-4600-AFD0-8994D3888F22}" destId="{7099C5AD-A666-455F-9144-31509FAE35FB}" srcOrd="0" destOrd="0" presId="urn:microsoft.com/office/officeart/2005/8/layout/pyramid1"/>
    <dgm:cxn modelId="{DF4AFE34-8D41-4D80-B04A-87814EA38278}" type="presParOf" srcId="{08609C55-E487-4600-AFD0-8994D3888F22}" destId="{8064A9E2-4365-4891-A563-4210D9FE6047}" srcOrd="1" destOrd="0" presId="urn:microsoft.com/office/officeart/2005/8/layout/pyramid1"/>
    <dgm:cxn modelId="{12439197-1724-45FE-81FA-A7AC17B05C06}" type="presParOf" srcId="{8C222443-D6D5-437E-8A06-7845FF64044F}" destId="{4E66420A-6794-4210-A8DC-A681DFE94B26}" srcOrd="2" destOrd="0" presId="urn:microsoft.com/office/officeart/2005/8/layout/pyramid1"/>
    <dgm:cxn modelId="{CD7DAD8A-DA19-4CF1-A120-4E6D9D2D61BC}" type="presParOf" srcId="{4E66420A-6794-4210-A8DC-A681DFE94B26}" destId="{3405B94A-B110-4EB0-B99D-680A85764021}" srcOrd="0" destOrd="0" presId="urn:microsoft.com/office/officeart/2005/8/layout/pyramid1"/>
    <dgm:cxn modelId="{74B7279C-412A-4FA3-94D3-D27FD47D83B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. Разработана и создана система маршрутизации (навигации)</a:t>
          </a: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40A066F-B17F-45B8-89F8-3AD1EC3F21A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5. Анализ проделанной работы. Анкетирование родителей (законных представителей) «О создании навигации на территории ДОУ»</a:t>
          </a:r>
        </a:p>
      </dgm:t>
    </dgm:pt>
    <dgm:pt modelId="{D3E3434C-981A-44CE-BE18-A5D126FDAEB8}" type="parTrans" cxnId="{6BF5B657-B78C-4B8A-9DD2-7E43D1DB1413}">
      <dgm:prSet/>
      <dgm:spPr/>
      <dgm:t>
        <a:bodyPr/>
        <a:lstStyle/>
        <a:p>
          <a:endParaRPr lang="ru-RU"/>
        </a:p>
      </dgm:t>
    </dgm:pt>
    <dgm:pt modelId="{80935358-8300-4C43-A619-5E4D01ECEE1C}" type="sibTrans" cxnId="{6BF5B657-B78C-4B8A-9DD2-7E43D1DB1413}">
      <dgm:prSet/>
      <dgm:spPr/>
      <dgm:t>
        <a:bodyPr/>
        <a:lstStyle/>
        <a:p>
          <a:endParaRPr lang="ru-RU"/>
        </a:p>
      </dgm:t>
    </dgm:pt>
    <dgm:pt modelId="{07E9D862-254D-46C5-A0D0-BD60FD084431}">
      <dgm:prSet phldrT="[Текст]" phldr="1"/>
      <dgm:spPr/>
      <dgm:t>
        <a:bodyPr/>
        <a:lstStyle/>
        <a:p>
          <a:endParaRPr lang="ru-RU" dirty="0"/>
        </a:p>
      </dgm:t>
    </dgm:pt>
    <dgm:pt modelId="{0EA3F1EE-441D-405A-8935-9EA1BEF45ADD}" type="parTrans" cxnId="{85A5A7F7-C6CE-4326-B522-1D29B69B9034}">
      <dgm:prSet/>
      <dgm:spPr/>
      <dgm:t>
        <a:bodyPr/>
        <a:lstStyle/>
        <a:p>
          <a:endParaRPr lang="ru-RU"/>
        </a:p>
      </dgm:t>
    </dgm:pt>
    <dgm:pt modelId="{B3D9C5EE-F500-42A2-9142-57FDA1BF22AE}" type="sibTrans" cxnId="{85A5A7F7-C6CE-4326-B522-1D29B69B9034}">
      <dgm:prSet/>
      <dgm:spPr/>
      <dgm:t>
        <a:bodyPr/>
        <a:lstStyle/>
        <a:p>
          <a:endParaRPr lang="ru-RU"/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2. Осуществлен закуп путем выбора поставщика и заказа на изготовление стендов, указателей.</a:t>
          </a: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3. Размещены указатели и стенды навигации для самостоятельного нахождения нужного объекта.</a:t>
          </a: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4. Создан видеоролик «Виртуальная экскурсия» и размещён на официальном сайте ДОУ</a:t>
          </a: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30FEC8C0-9AF4-4C08-9FBE-E2B4BF8EDC03}" type="pres">
      <dgm:prSet presAssocID="{6BFEE5F0-45C5-4CFF-BA2D-8A60B5871492}" presName="FiveNodes_1" presStyleLbl="node1" presStyleIdx="0" presStyleCnt="5" custLinFactNeighborX="475" custLinFactNeighborY="-11131">
        <dgm:presLayoutVars>
          <dgm:bulletEnabled val="1"/>
        </dgm:presLayoutVars>
      </dgm:prSet>
      <dgm:spPr/>
    </dgm:pt>
    <dgm:pt modelId="{FE366500-1CE0-4E21-ABD1-DA4624D064AC}" type="pres">
      <dgm:prSet presAssocID="{6BFEE5F0-45C5-4CFF-BA2D-8A60B5871492}" presName="FiveNodes_2" presStyleLbl="node1" presStyleIdx="1" presStyleCnt="5" custLinFactNeighborX="-1209" custLinFactNeighborY="-6355">
        <dgm:presLayoutVars>
          <dgm:bulletEnabled val="1"/>
        </dgm:presLayoutVars>
      </dgm:prSet>
      <dgm:spPr/>
    </dgm:pt>
    <dgm:pt modelId="{B6A03898-272E-4EF0-AF67-078971E9CE25}" type="pres">
      <dgm:prSet presAssocID="{6BFEE5F0-45C5-4CFF-BA2D-8A60B5871492}" presName="FiveNodes_3" presStyleLbl="node1" presStyleIdx="2" presStyleCnt="5" custLinFactNeighborX="-2893" custLinFactNeighborY="-14772">
        <dgm:presLayoutVars>
          <dgm:bulletEnabled val="1"/>
        </dgm:presLayoutVars>
      </dgm:prSet>
      <dgm:spPr/>
    </dgm:pt>
    <dgm:pt modelId="{7B17664F-C9B3-4249-A8B8-C4D300FA926D}" type="pres">
      <dgm:prSet presAssocID="{6BFEE5F0-45C5-4CFF-BA2D-8A60B5871492}" presName="FiveNodes_4" presStyleLbl="node1" presStyleIdx="3" presStyleCnt="5" custLinFactNeighborX="-2264" custLinFactNeighborY="-30085">
        <dgm:presLayoutVars>
          <dgm:bulletEnabled val="1"/>
        </dgm:presLayoutVars>
      </dgm:prSet>
      <dgm:spPr/>
    </dgm:pt>
    <dgm:pt modelId="{6EA6D48D-BAD0-473B-A278-4CF37A911351}" type="pres">
      <dgm:prSet presAssocID="{6BFEE5F0-45C5-4CFF-BA2D-8A60B5871492}" presName="FiveNodes_5" presStyleLbl="node1" presStyleIdx="4" presStyleCnt="5" custScaleX="111167" custScaleY="127554" custLinFactNeighborX="1635" custLinFactNeighborY="-22244">
        <dgm:presLayoutVars>
          <dgm:bulletEnabled val="1"/>
        </dgm:presLayoutVars>
      </dgm:prSet>
      <dgm:spPr/>
    </dgm:pt>
    <dgm:pt modelId="{AE9552E2-4F18-4949-BE6B-3424A9372BC7}" type="pres">
      <dgm:prSet presAssocID="{6BFEE5F0-45C5-4CFF-BA2D-8A60B5871492}" presName="FiveConn_1-2" presStyleLbl="fgAccFollowNode1" presStyleIdx="0" presStyleCnt="4">
        <dgm:presLayoutVars>
          <dgm:bulletEnabled val="1"/>
        </dgm:presLayoutVars>
      </dgm:prSet>
      <dgm:spPr/>
    </dgm:pt>
    <dgm:pt modelId="{03E2DFB3-AB61-455F-9BB7-2E64B786D895}" type="pres">
      <dgm:prSet presAssocID="{6BFEE5F0-45C5-4CFF-BA2D-8A60B5871492}" presName="FiveConn_2-3" presStyleLbl="fgAccFollowNode1" presStyleIdx="1" presStyleCnt="4">
        <dgm:presLayoutVars>
          <dgm:bulletEnabled val="1"/>
        </dgm:presLayoutVars>
      </dgm:prSet>
      <dgm:spPr/>
    </dgm:pt>
    <dgm:pt modelId="{D89A8CAC-EB46-4693-A9F5-A064E8EFDD0C}" type="pres">
      <dgm:prSet presAssocID="{6BFEE5F0-45C5-4CFF-BA2D-8A60B5871492}" presName="FiveConn_3-4" presStyleLbl="fgAccFollowNode1" presStyleIdx="2" presStyleCnt="4">
        <dgm:presLayoutVars>
          <dgm:bulletEnabled val="1"/>
        </dgm:presLayoutVars>
      </dgm:prSet>
      <dgm:spPr/>
    </dgm:pt>
    <dgm:pt modelId="{7B365600-431D-4308-99D7-92F1861F9C31}" type="pres">
      <dgm:prSet presAssocID="{6BFEE5F0-45C5-4CFF-BA2D-8A60B5871492}" presName="FiveConn_4-5" presStyleLbl="fgAccFollowNode1" presStyleIdx="3" presStyleCnt="4">
        <dgm:presLayoutVars>
          <dgm:bulletEnabled val="1"/>
        </dgm:presLayoutVars>
      </dgm:prSet>
      <dgm:spPr/>
    </dgm:pt>
    <dgm:pt modelId="{5FD72557-98A8-484B-B82C-065B0616D77B}" type="pres">
      <dgm:prSet presAssocID="{6BFEE5F0-45C5-4CFF-BA2D-8A60B5871492}" presName="FiveNodes_1_text" presStyleLbl="node1" presStyleIdx="4" presStyleCnt="5">
        <dgm:presLayoutVars>
          <dgm:bulletEnabled val="1"/>
        </dgm:presLayoutVars>
      </dgm:prSet>
      <dgm:spPr/>
    </dgm:pt>
    <dgm:pt modelId="{5231FB49-1DD9-4303-9D35-94208F3E324B}" type="pres">
      <dgm:prSet presAssocID="{6BFEE5F0-45C5-4CFF-BA2D-8A60B5871492}" presName="FiveNodes_2_text" presStyleLbl="node1" presStyleIdx="4" presStyleCnt="5">
        <dgm:presLayoutVars>
          <dgm:bulletEnabled val="1"/>
        </dgm:presLayoutVars>
      </dgm:prSet>
      <dgm:spPr/>
    </dgm:pt>
    <dgm:pt modelId="{246162F8-B5E5-4AE8-89A7-33FD83ECEF0D}" type="pres">
      <dgm:prSet presAssocID="{6BFEE5F0-45C5-4CFF-BA2D-8A60B5871492}" presName="FiveNodes_3_text" presStyleLbl="node1" presStyleIdx="4" presStyleCnt="5">
        <dgm:presLayoutVars>
          <dgm:bulletEnabled val="1"/>
        </dgm:presLayoutVars>
      </dgm:prSet>
      <dgm:spPr/>
    </dgm:pt>
    <dgm:pt modelId="{F8DD35B8-8792-44B6-A00D-B33E61D3EFF6}" type="pres">
      <dgm:prSet presAssocID="{6BFEE5F0-45C5-4CFF-BA2D-8A60B5871492}" presName="FiveNodes_4_text" presStyleLbl="node1" presStyleIdx="4" presStyleCnt="5">
        <dgm:presLayoutVars>
          <dgm:bulletEnabled val="1"/>
        </dgm:presLayoutVars>
      </dgm:prSet>
      <dgm:spPr/>
    </dgm:pt>
    <dgm:pt modelId="{E858857A-1BF0-4921-8D21-7BADDAF5D973}" type="pres">
      <dgm:prSet presAssocID="{6BFEE5F0-45C5-4CFF-BA2D-8A60B5871492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D47FAA15-73AF-4099-9318-F213010D9493}" type="presOf" srcId="{E7C70EB0-ACEC-4279-BCCC-DF6F633D54FD}" destId="{D89A8CAC-EB46-4693-A9F5-A064E8EFDD0C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BDAFD23A-A7B6-4510-9AD5-01A9D9D104D0}" type="presOf" srcId="{640A066F-B17F-45B8-89F8-3AD1EC3F21AE}" destId="{E858857A-1BF0-4921-8D21-7BADDAF5D973}" srcOrd="1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F2936C4A-6155-4687-8F74-B886BE8884A4}" type="presOf" srcId="{CA06A359-1AEE-4640-8FE2-7A447B44B5F4}" destId="{7B365600-431D-4308-99D7-92F1861F9C31}" srcOrd="0" destOrd="0" presId="urn:microsoft.com/office/officeart/2005/8/layout/vProcess5"/>
    <dgm:cxn modelId="{CA1C1E4C-3053-4155-9C80-B1EB95B72E42}" type="presOf" srcId="{640A066F-B17F-45B8-89F8-3AD1EC3F21AE}" destId="{6EA6D48D-BAD0-473B-A278-4CF37A911351}" srcOrd="0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0CB96756-A65B-45D0-B586-FE0C26B2514D}" type="presOf" srcId="{2B8E528B-B59C-46A5-8EBC-B248E02C47B1}" destId="{5231FB49-1DD9-4303-9D35-94208F3E324B}" srcOrd="1" destOrd="0" presId="urn:microsoft.com/office/officeart/2005/8/layout/vProcess5"/>
    <dgm:cxn modelId="{6BF5B657-B78C-4B8A-9DD2-7E43D1DB1413}" srcId="{6BFEE5F0-45C5-4CFF-BA2D-8A60B5871492}" destId="{640A066F-B17F-45B8-89F8-3AD1EC3F21AE}" srcOrd="4" destOrd="0" parTransId="{D3E3434C-981A-44CE-BE18-A5D126FDAEB8}" sibTransId="{80935358-8300-4C43-A619-5E4D01ECEE1C}"/>
    <dgm:cxn modelId="{5612FB7A-1C75-4F96-8FBA-CE09ED85426A}" type="presOf" srcId="{2B8E528B-B59C-46A5-8EBC-B248E02C47B1}" destId="{FE366500-1CE0-4E21-ABD1-DA4624D064AC}" srcOrd="0" destOrd="0" presId="urn:microsoft.com/office/officeart/2005/8/layout/vProcess5"/>
    <dgm:cxn modelId="{7DCF197F-11A3-4556-BDF8-A07A795ABA8F}" type="presOf" srcId="{98F1C1C8-A9C5-40A9-916F-5131661F376A}" destId="{AE9552E2-4F18-4949-BE6B-3424A9372BC7}" srcOrd="0" destOrd="0" presId="urn:microsoft.com/office/officeart/2005/8/layout/vProcess5"/>
    <dgm:cxn modelId="{F1B496A5-85E4-4F87-B331-D2BB656EA1BD}" type="presOf" srcId="{FC5BD7F4-96B4-47C9-998E-6FC57FDD5E06}" destId="{F8DD35B8-8792-44B6-A00D-B33E61D3EFF6}" srcOrd="1" destOrd="0" presId="urn:microsoft.com/office/officeart/2005/8/layout/vProcess5"/>
    <dgm:cxn modelId="{1DCF82CF-BAC7-4911-ABB5-341E43019593}" type="presOf" srcId="{FC5BD7F4-96B4-47C9-998E-6FC57FDD5E06}" destId="{7B17664F-C9B3-4249-A8B8-C4D300FA926D}" srcOrd="0" destOrd="0" presId="urn:microsoft.com/office/officeart/2005/8/layout/vProcess5"/>
    <dgm:cxn modelId="{66AFC5CF-7352-4F56-A0AA-6A3450F7DA57}" type="presOf" srcId="{DABD7538-E1B7-4A14-9649-1C582DF5D4FE}" destId="{30FEC8C0-9AF4-4C08-9FBE-E2B4BF8EDC03}" srcOrd="0" destOrd="0" presId="urn:microsoft.com/office/officeart/2005/8/layout/vProcess5"/>
    <dgm:cxn modelId="{ACB935DF-5A92-4297-8AE6-F203006084DF}" type="presOf" srcId="{F68A3DDF-6DB4-4987-B53D-BCDBCA10BAEB}" destId="{B6A03898-272E-4EF0-AF67-078971E9CE25}" srcOrd="0" destOrd="0" presId="urn:microsoft.com/office/officeart/2005/8/layout/vProcess5"/>
    <dgm:cxn modelId="{1BA5EBE3-3F4C-4EF6-8FC0-B070677DAC04}" type="presOf" srcId="{DABD7538-E1B7-4A14-9649-1C582DF5D4FE}" destId="{5FD72557-98A8-484B-B82C-065B0616D77B}" srcOrd="1" destOrd="0" presId="urn:microsoft.com/office/officeart/2005/8/layout/vProcess5"/>
    <dgm:cxn modelId="{97F82EF7-7515-4153-B282-2AB399590B60}" type="presOf" srcId="{F68A3DDF-6DB4-4987-B53D-BCDBCA10BAEB}" destId="{246162F8-B5E5-4AE8-89A7-33FD83ECEF0D}" srcOrd="1" destOrd="0" presId="urn:microsoft.com/office/officeart/2005/8/layout/vProcess5"/>
    <dgm:cxn modelId="{AD4C42F7-DE47-434E-8959-D5B9CE32EA7E}" type="presOf" srcId="{EB8C6CE8-C0DC-4EDC-9F28-F1A973E801DD}" destId="{03E2DFB3-AB61-455F-9BB7-2E64B786D895}" srcOrd="0" destOrd="0" presId="urn:microsoft.com/office/officeart/2005/8/layout/vProcess5"/>
    <dgm:cxn modelId="{85A5A7F7-C6CE-4326-B522-1D29B69B9034}" srcId="{6BFEE5F0-45C5-4CFF-BA2D-8A60B5871492}" destId="{07E9D862-254D-46C5-A0D0-BD60FD084431}" srcOrd="5" destOrd="0" parTransId="{0EA3F1EE-441D-405A-8935-9EA1BEF45ADD}" sibTransId="{B3D9C5EE-F500-42A2-9142-57FDA1BF22AE}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C54A4B63-A4B9-4FF8-B06E-DF5A8CC621C2}" type="presParOf" srcId="{750584B0-8F72-4FC1-8F04-083026C179E3}" destId="{30FEC8C0-9AF4-4C08-9FBE-E2B4BF8EDC03}" srcOrd="1" destOrd="0" presId="urn:microsoft.com/office/officeart/2005/8/layout/vProcess5"/>
    <dgm:cxn modelId="{725943E9-7E2A-479D-98FF-05F3D44A112B}" type="presParOf" srcId="{750584B0-8F72-4FC1-8F04-083026C179E3}" destId="{FE366500-1CE0-4E21-ABD1-DA4624D064AC}" srcOrd="2" destOrd="0" presId="urn:microsoft.com/office/officeart/2005/8/layout/vProcess5"/>
    <dgm:cxn modelId="{CB7CD89D-5B72-42CF-8554-17928ED6E43D}" type="presParOf" srcId="{750584B0-8F72-4FC1-8F04-083026C179E3}" destId="{B6A03898-272E-4EF0-AF67-078971E9CE25}" srcOrd="3" destOrd="0" presId="urn:microsoft.com/office/officeart/2005/8/layout/vProcess5"/>
    <dgm:cxn modelId="{D95DFD20-FBA3-4B8D-AD69-200D22D681F3}" type="presParOf" srcId="{750584B0-8F72-4FC1-8F04-083026C179E3}" destId="{7B17664F-C9B3-4249-A8B8-C4D300FA926D}" srcOrd="4" destOrd="0" presId="urn:microsoft.com/office/officeart/2005/8/layout/vProcess5"/>
    <dgm:cxn modelId="{667C7091-2AFD-4C7D-8447-72131A979E49}" type="presParOf" srcId="{750584B0-8F72-4FC1-8F04-083026C179E3}" destId="{6EA6D48D-BAD0-473B-A278-4CF37A911351}" srcOrd="5" destOrd="0" presId="urn:microsoft.com/office/officeart/2005/8/layout/vProcess5"/>
    <dgm:cxn modelId="{98616849-76B6-47D0-B92C-3F5E96C15DC0}" type="presParOf" srcId="{750584B0-8F72-4FC1-8F04-083026C179E3}" destId="{AE9552E2-4F18-4949-BE6B-3424A9372BC7}" srcOrd="6" destOrd="0" presId="urn:microsoft.com/office/officeart/2005/8/layout/vProcess5"/>
    <dgm:cxn modelId="{4CC8EE6B-38AB-46B5-A9A8-A40A5104A44D}" type="presParOf" srcId="{750584B0-8F72-4FC1-8F04-083026C179E3}" destId="{03E2DFB3-AB61-455F-9BB7-2E64B786D895}" srcOrd="7" destOrd="0" presId="urn:microsoft.com/office/officeart/2005/8/layout/vProcess5"/>
    <dgm:cxn modelId="{B350729A-4EBC-4662-BBBC-77062B407462}" type="presParOf" srcId="{750584B0-8F72-4FC1-8F04-083026C179E3}" destId="{D89A8CAC-EB46-4693-A9F5-A064E8EFDD0C}" srcOrd="8" destOrd="0" presId="urn:microsoft.com/office/officeart/2005/8/layout/vProcess5"/>
    <dgm:cxn modelId="{2717DD26-3A90-46D1-9B12-55CBD4409F9F}" type="presParOf" srcId="{750584B0-8F72-4FC1-8F04-083026C179E3}" destId="{7B365600-431D-4308-99D7-92F1861F9C31}" srcOrd="9" destOrd="0" presId="urn:microsoft.com/office/officeart/2005/8/layout/vProcess5"/>
    <dgm:cxn modelId="{9E667E82-8A0D-4FA0-8638-6DE8D3DE1E04}" type="presParOf" srcId="{750584B0-8F72-4FC1-8F04-083026C179E3}" destId="{5FD72557-98A8-484B-B82C-065B0616D77B}" srcOrd="10" destOrd="0" presId="urn:microsoft.com/office/officeart/2005/8/layout/vProcess5"/>
    <dgm:cxn modelId="{D3E07C96-F5C8-4F3C-92A6-6B3330B4706A}" type="presParOf" srcId="{750584B0-8F72-4FC1-8F04-083026C179E3}" destId="{5231FB49-1DD9-4303-9D35-94208F3E324B}" srcOrd="11" destOrd="0" presId="urn:microsoft.com/office/officeart/2005/8/layout/vProcess5"/>
    <dgm:cxn modelId="{D0986F51-6D77-4890-B7E2-237DCA62282D}" type="presParOf" srcId="{750584B0-8F72-4FC1-8F04-083026C179E3}" destId="{246162F8-B5E5-4AE8-89A7-33FD83ECEF0D}" srcOrd="12" destOrd="0" presId="urn:microsoft.com/office/officeart/2005/8/layout/vProcess5"/>
    <dgm:cxn modelId="{7C243659-B71E-401B-87B7-78F9CE84F63D}" type="presParOf" srcId="{750584B0-8F72-4FC1-8F04-083026C179E3}" destId="{F8DD35B8-8792-44B6-A00D-B33E61D3EFF6}" srcOrd="13" destOrd="0" presId="urn:microsoft.com/office/officeart/2005/8/layout/vProcess5"/>
    <dgm:cxn modelId="{FBF34003-3B23-4126-AA7B-F186C93CB6A7}" type="presParOf" srcId="{750584B0-8F72-4FC1-8F04-083026C179E3}" destId="{E858857A-1BF0-4921-8D21-7BADDAF5D973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/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 этап. Разработка и создание системы маршрутизации (навигации).</a:t>
          </a: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B8E528B-B59C-46A5-8EBC-B248E02C47B1}">
      <dgm:prSet phldrT="[Текст]" custT="1"/>
      <dgm:spPr/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 этап. Осуществления закупа путем выбора поставщика и заказа на изготовление стендов, указателей.  </a:t>
          </a: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/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/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3 этап. Размещение указателей и стендов навигации для самостоятельного нахождения маршрута. </a:t>
          </a: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/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/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4 этап. Самостоятельное нахождение вновь прибывшими родителями (законными представителями) нужного объекта на территории ДОУ, входной двери. </a:t>
          </a: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/>
      <dgm:t>
        <a:bodyPr/>
        <a:lstStyle/>
        <a:p>
          <a:endParaRPr lang="ru-RU"/>
        </a:p>
      </dgm:t>
    </dgm:pt>
    <dgm:pt modelId="{2BA3E95B-7D72-467D-8DED-D5855C350BF2}">
      <dgm:prSet custT="1"/>
      <dgm:spPr/>
      <dgm:t>
        <a:bodyPr/>
        <a:lstStyle/>
        <a:p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5 этап. Анализ проделанной работы. Анкетирование родителей (законных представителей) «О создании навигации на территории ДОУ»</a:t>
          </a:r>
          <a:endParaRPr lang="ru-RU" sz="1600" dirty="0"/>
        </a:p>
      </dgm:t>
    </dgm:pt>
    <dgm:pt modelId="{A55ADE7B-68CD-4EC9-98E7-4D39EC705508}" type="sibTrans" cxnId="{30B0AFEC-0D75-46F9-AB4D-AA4BAF9DBE03}">
      <dgm:prSet/>
      <dgm:spPr/>
      <dgm:t>
        <a:bodyPr/>
        <a:lstStyle/>
        <a:p>
          <a:endParaRPr lang="ru-RU"/>
        </a:p>
      </dgm:t>
    </dgm:pt>
    <dgm:pt modelId="{3EDCEF0B-A04B-4AAC-9F2E-DDD1655B37DC}" type="parTrans" cxnId="{30B0AFEC-0D75-46F9-AB4D-AA4BAF9DBE03}">
      <dgm:prSet/>
      <dgm:spPr/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65DC8660-735F-4591-9556-7FCD49232E4A}" type="pres">
      <dgm:prSet presAssocID="{6BFEE5F0-45C5-4CFF-BA2D-8A60B5871492}" presName="FiveNodes_1" presStyleLbl="node1" presStyleIdx="0" presStyleCnt="5">
        <dgm:presLayoutVars>
          <dgm:bulletEnabled val="1"/>
        </dgm:presLayoutVars>
      </dgm:prSet>
      <dgm:spPr/>
    </dgm:pt>
    <dgm:pt modelId="{5AF2463E-2FE8-4294-8F19-4195CC4E26D5}" type="pres">
      <dgm:prSet presAssocID="{6BFEE5F0-45C5-4CFF-BA2D-8A60B5871492}" presName="FiveNodes_2" presStyleLbl="node1" presStyleIdx="1" presStyleCnt="5">
        <dgm:presLayoutVars>
          <dgm:bulletEnabled val="1"/>
        </dgm:presLayoutVars>
      </dgm:prSet>
      <dgm:spPr/>
    </dgm:pt>
    <dgm:pt modelId="{B98D5E4A-B045-4E79-BB10-49C851D0621F}" type="pres">
      <dgm:prSet presAssocID="{6BFEE5F0-45C5-4CFF-BA2D-8A60B5871492}" presName="FiveNodes_3" presStyleLbl="node1" presStyleIdx="2" presStyleCnt="5">
        <dgm:presLayoutVars>
          <dgm:bulletEnabled val="1"/>
        </dgm:presLayoutVars>
      </dgm:prSet>
      <dgm:spPr/>
    </dgm:pt>
    <dgm:pt modelId="{A8CE18F9-A2A4-4C1C-A66B-3B0EAF6A2DC1}" type="pres">
      <dgm:prSet presAssocID="{6BFEE5F0-45C5-4CFF-BA2D-8A60B5871492}" presName="FiveNodes_4" presStyleLbl="node1" presStyleIdx="3" presStyleCnt="5">
        <dgm:presLayoutVars>
          <dgm:bulletEnabled val="1"/>
        </dgm:presLayoutVars>
      </dgm:prSet>
      <dgm:spPr/>
    </dgm:pt>
    <dgm:pt modelId="{FD70164B-C861-4B93-9FE8-2834F558C527}" type="pres">
      <dgm:prSet presAssocID="{6BFEE5F0-45C5-4CFF-BA2D-8A60B5871492}" presName="FiveNodes_5" presStyleLbl="node1" presStyleIdx="4" presStyleCnt="5">
        <dgm:presLayoutVars>
          <dgm:bulletEnabled val="1"/>
        </dgm:presLayoutVars>
      </dgm:prSet>
      <dgm:spPr/>
    </dgm:pt>
    <dgm:pt modelId="{5C935165-7D5D-462C-9D37-39BC68BEBF82}" type="pres">
      <dgm:prSet presAssocID="{6BFEE5F0-45C5-4CFF-BA2D-8A60B5871492}" presName="FiveConn_1-2" presStyleLbl="fgAccFollowNode1" presStyleIdx="0" presStyleCnt="4">
        <dgm:presLayoutVars>
          <dgm:bulletEnabled val="1"/>
        </dgm:presLayoutVars>
      </dgm:prSet>
      <dgm:spPr/>
    </dgm:pt>
    <dgm:pt modelId="{024BB3C3-164D-4139-B511-4A0BA1394048}" type="pres">
      <dgm:prSet presAssocID="{6BFEE5F0-45C5-4CFF-BA2D-8A60B5871492}" presName="FiveConn_2-3" presStyleLbl="fgAccFollowNode1" presStyleIdx="1" presStyleCnt="4">
        <dgm:presLayoutVars>
          <dgm:bulletEnabled val="1"/>
        </dgm:presLayoutVars>
      </dgm:prSet>
      <dgm:spPr/>
    </dgm:pt>
    <dgm:pt modelId="{3FE72735-C986-4E9C-95BA-26AF915BB6C3}" type="pres">
      <dgm:prSet presAssocID="{6BFEE5F0-45C5-4CFF-BA2D-8A60B5871492}" presName="FiveConn_3-4" presStyleLbl="fgAccFollowNode1" presStyleIdx="2" presStyleCnt="4">
        <dgm:presLayoutVars>
          <dgm:bulletEnabled val="1"/>
        </dgm:presLayoutVars>
      </dgm:prSet>
      <dgm:spPr/>
    </dgm:pt>
    <dgm:pt modelId="{C9B74775-87F6-486E-82D1-883F0961C390}" type="pres">
      <dgm:prSet presAssocID="{6BFEE5F0-45C5-4CFF-BA2D-8A60B5871492}" presName="FiveConn_4-5" presStyleLbl="fgAccFollowNode1" presStyleIdx="3" presStyleCnt="4">
        <dgm:presLayoutVars>
          <dgm:bulletEnabled val="1"/>
        </dgm:presLayoutVars>
      </dgm:prSet>
      <dgm:spPr/>
    </dgm:pt>
    <dgm:pt modelId="{648804CB-ACEE-4279-A47B-7619ACC129DA}" type="pres">
      <dgm:prSet presAssocID="{6BFEE5F0-45C5-4CFF-BA2D-8A60B5871492}" presName="FiveNodes_1_text" presStyleLbl="node1" presStyleIdx="4" presStyleCnt="5">
        <dgm:presLayoutVars>
          <dgm:bulletEnabled val="1"/>
        </dgm:presLayoutVars>
      </dgm:prSet>
      <dgm:spPr/>
    </dgm:pt>
    <dgm:pt modelId="{DCDAC345-6EFC-4617-B060-A398A3B5EDA7}" type="pres">
      <dgm:prSet presAssocID="{6BFEE5F0-45C5-4CFF-BA2D-8A60B5871492}" presName="FiveNodes_2_text" presStyleLbl="node1" presStyleIdx="4" presStyleCnt="5">
        <dgm:presLayoutVars>
          <dgm:bulletEnabled val="1"/>
        </dgm:presLayoutVars>
      </dgm:prSet>
      <dgm:spPr/>
    </dgm:pt>
    <dgm:pt modelId="{239EBAAD-A9F2-4983-BA09-0142B42F3C5B}" type="pres">
      <dgm:prSet presAssocID="{6BFEE5F0-45C5-4CFF-BA2D-8A60B5871492}" presName="FiveNodes_3_text" presStyleLbl="node1" presStyleIdx="4" presStyleCnt="5">
        <dgm:presLayoutVars>
          <dgm:bulletEnabled val="1"/>
        </dgm:presLayoutVars>
      </dgm:prSet>
      <dgm:spPr/>
    </dgm:pt>
    <dgm:pt modelId="{2B0D29CA-8368-4C6A-AC78-EDC662157495}" type="pres">
      <dgm:prSet presAssocID="{6BFEE5F0-45C5-4CFF-BA2D-8A60B5871492}" presName="FiveNodes_4_text" presStyleLbl="node1" presStyleIdx="4" presStyleCnt="5">
        <dgm:presLayoutVars>
          <dgm:bulletEnabled val="1"/>
        </dgm:presLayoutVars>
      </dgm:prSet>
      <dgm:spPr/>
    </dgm:pt>
    <dgm:pt modelId="{A58BF65A-854D-4B64-9C96-D3C208D74267}" type="pres">
      <dgm:prSet presAssocID="{6BFEE5F0-45C5-4CFF-BA2D-8A60B5871492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5A737612-F8FA-49A5-88DE-23BF87493049}" type="presOf" srcId="{F68A3DDF-6DB4-4987-B53D-BCDBCA10BAEB}" destId="{B98D5E4A-B045-4E79-BB10-49C851D0621F}" srcOrd="0" destOrd="0" presId="urn:microsoft.com/office/officeart/2005/8/layout/vProcess5"/>
    <dgm:cxn modelId="{E2AA6016-11AE-428A-97B4-E4F974A262F4}" type="presOf" srcId="{2BA3E95B-7D72-467D-8DED-D5855C350BF2}" destId="{FD70164B-C861-4B93-9FE8-2834F558C527}" srcOrd="0" destOrd="0" presId="urn:microsoft.com/office/officeart/2005/8/layout/vProcess5"/>
    <dgm:cxn modelId="{CB799619-E639-4809-B543-342C6657C7EA}" type="presOf" srcId="{2B8E528B-B59C-46A5-8EBC-B248E02C47B1}" destId="{5AF2463E-2FE8-4294-8F19-4195CC4E26D5}" srcOrd="0" destOrd="0" presId="urn:microsoft.com/office/officeart/2005/8/layout/vProcess5"/>
    <dgm:cxn modelId="{1188261D-0373-484B-BB72-3784C35ED220}" type="presOf" srcId="{DABD7538-E1B7-4A14-9649-1C582DF5D4FE}" destId="{65DC8660-735F-4591-9556-7FCD49232E4A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29A91C4C-DBCD-4199-8F01-06A5DD96A2DB}" type="presOf" srcId="{FC5BD7F4-96B4-47C9-998E-6FC57FDD5E06}" destId="{A8CE18F9-A2A4-4C1C-A66B-3B0EAF6A2DC1}" srcOrd="0" destOrd="0" presId="urn:microsoft.com/office/officeart/2005/8/layout/vProcess5"/>
    <dgm:cxn modelId="{E959DB6F-5CFA-4EFC-84DB-6CD40C7407DF}" type="presOf" srcId="{CA06A359-1AEE-4640-8FE2-7A447B44B5F4}" destId="{C9B74775-87F6-486E-82D1-883F0961C390}" srcOrd="0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6946C48A-F5BA-438E-981E-432493052FD4}" type="presOf" srcId="{F68A3DDF-6DB4-4987-B53D-BCDBCA10BAEB}" destId="{239EBAAD-A9F2-4983-BA09-0142B42F3C5B}" srcOrd="1" destOrd="0" presId="urn:microsoft.com/office/officeart/2005/8/layout/vProcess5"/>
    <dgm:cxn modelId="{FE67298D-F74F-42F9-8A68-B12AAA92BF8A}" type="presOf" srcId="{FC5BD7F4-96B4-47C9-998E-6FC57FDD5E06}" destId="{2B0D29CA-8368-4C6A-AC78-EDC662157495}" srcOrd="1" destOrd="0" presId="urn:microsoft.com/office/officeart/2005/8/layout/vProcess5"/>
    <dgm:cxn modelId="{CD0F41A3-61E2-48D6-A284-1604F14BFD9D}" type="presOf" srcId="{DABD7538-E1B7-4A14-9649-1C582DF5D4FE}" destId="{648804CB-ACEE-4279-A47B-7619ACC129DA}" srcOrd="1" destOrd="0" presId="urn:microsoft.com/office/officeart/2005/8/layout/vProcess5"/>
    <dgm:cxn modelId="{890948A7-E1F3-491A-8C42-4A8F34DAABC8}" type="presOf" srcId="{2B8E528B-B59C-46A5-8EBC-B248E02C47B1}" destId="{DCDAC345-6EFC-4617-B060-A398A3B5EDA7}" srcOrd="1" destOrd="0" presId="urn:microsoft.com/office/officeart/2005/8/layout/vProcess5"/>
    <dgm:cxn modelId="{AECEAABB-D0F1-4BC0-9034-54CB2A7D0CC1}" type="presOf" srcId="{E7C70EB0-ACEC-4279-BCCC-DF6F633D54FD}" destId="{3FE72735-C986-4E9C-95BA-26AF915BB6C3}" srcOrd="0" destOrd="0" presId="urn:microsoft.com/office/officeart/2005/8/layout/vProcess5"/>
    <dgm:cxn modelId="{E0ABB6BB-BCF4-46A1-BD7F-ABBB298FBD28}" type="presOf" srcId="{2BA3E95B-7D72-467D-8DED-D5855C350BF2}" destId="{A58BF65A-854D-4B64-9C96-D3C208D74267}" srcOrd="1" destOrd="0" presId="urn:microsoft.com/office/officeart/2005/8/layout/vProcess5"/>
    <dgm:cxn modelId="{88031AD0-4173-4B3B-A5BC-B85B829700F8}" type="presOf" srcId="{98F1C1C8-A9C5-40A9-916F-5131661F376A}" destId="{5C935165-7D5D-462C-9D37-39BC68BEBF82}" srcOrd="0" destOrd="0" presId="urn:microsoft.com/office/officeart/2005/8/layout/vProcess5"/>
    <dgm:cxn modelId="{CA0310D4-2BC5-49BE-BBF2-7AAA34CA12B8}" type="presOf" srcId="{EB8C6CE8-C0DC-4EDC-9F28-F1A973E801DD}" destId="{024BB3C3-164D-4139-B511-4A0BA1394048}" srcOrd="0" destOrd="0" presId="urn:microsoft.com/office/officeart/2005/8/layout/vProcess5"/>
    <dgm:cxn modelId="{30B0AFEC-0D75-46F9-AB4D-AA4BAF9DBE03}" srcId="{6BFEE5F0-45C5-4CFF-BA2D-8A60B5871492}" destId="{2BA3E95B-7D72-467D-8DED-D5855C350BF2}" srcOrd="4" destOrd="0" parTransId="{3EDCEF0B-A04B-4AAC-9F2E-DDD1655B37DC}" sibTransId="{A55ADE7B-68CD-4EC9-98E7-4D39EC705508}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073DEC9C-1BFB-4167-BFD2-E1E30A6C097B}" type="presParOf" srcId="{750584B0-8F72-4FC1-8F04-083026C179E3}" destId="{65DC8660-735F-4591-9556-7FCD49232E4A}" srcOrd="1" destOrd="0" presId="urn:microsoft.com/office/officeart/2005/8/layout/vProcess5"/>
    <dgm:cxn modelId="{5EFC1A1A-79EF-43B7-A02F-F3F13950F6A6}" type="presParOf" srcId="{750584B0-8F72-4FC1-8F04-083026C179E3}" destId="{5AF2463E-2FE8-4294-8F19-4195CC4E26D5}" srcOrd="2" destOrd="0" presId="urn:microsoft.com/office/officeart/2005/8/layout/vProcess5"/>
    <dgm:cxn modelId="{01ACC66C-C0B8-4339-8A87-CC8D46410568}" type="presParOf" srcId="{750584B0-8F72-4FC1-8F04-083026C179E3}" destId="{B98D5E4A-B045-4E79-BB10-49C851D0621F}" srcOrd="3" destOrd="0" presId="urn:microsoft.com/office/officeart/2005/8/layout/vProcess5"/>
    <dgm:cxn modelId="{0F7BA9DB-66A6-44AD-8B41-8E62EFF6CD92}" type="presParOf" srcId="{750584B0-8F72-4FC1-8F04-083026C179E3}" destId="{A8CE18F9-A2A4-4C1C-A66B-3B0EAF6A2DC1}" srcOrd="4" destOrd="0" presId="urn:microsoft.com/office/officeart/2005/8/layout/vProcess5"/>
    <dgm:cxn modelId="{576AE859-A73E-4A2E-89C4-F25ED774A52A}" type="presParOf" srcId="{750584B0-8F72-4FC1-8F04-083026C179E3}" destId="{FD70164B-C861-4B93-9FE8-2834F558C527}" srcOrd="5" destOrd="0" presId="urn:microsoft.com/office/officeart/2005/8/layout/vProcess5"/>
    <dgm:cxn modelId="{E3A1F2DE-C45A-4EDB-8C18-BB1338D84DC5}" type="presParOf" srcId="{750584B0-8F72-4FC1-8F04-083026C179E3}" destId="{5C935165-7D5D-462C-9D37-39BC68BEBF82}" srcOrd="6" destOrd="0" presId="urn:microsoft.com/office/officeart/2005/8/layout/vProcess5"/>
    <dgm:cxn modelId="{19B36B83-CA83-4825-94A9-CBE86461AF2F}" type="presParOf" srcId="{750584B0-8F72-4FC1-8F04-083026C179E3}" destId="{024BB3C3-164D-4139-B511-4A0BA1394048}" srcOrd="7" destOrd="0" presId="urn:microsoft.com/office/officeart/2005/8/layout/vProcess5"/>
    <dgm:cxn modelId="{D253FD8B-227E-410B-804B-163C8636D1D3}" type="presParOf" srcId="{750584B0-8F72-4FC1-8F04-083026C179E3}" destId="{3FE72735-C986-4E9C-95BA-26AF915BB6C3}" srcOrd="8" destOrd="0" presId="urn:microsoft.com/office/officeart/2005/8/layout/vProcess5"/>
    <dgm:cxn modelId="{121B80CA-A165-479E-AE25-131D9962F1BB}" type="presParOf" srcId="{750584B0-8F72-4FC1-8F04-083026C179E3}" destId="{C9B74775-87F6-486E-82D1-883F0961C390}" srcOrd="9" destOrd="0" presId="urn:microsoft.com/office/officeart/2005/8/layout/vProcess5"/>
    <dgm:cxn modelId="{5DC185A0-4C1D-41B1-8B19-F5FCE6AAE833}" type="presParOf" srcId="{750584B0-8F72-4FC1-8F04-083026C179E3}" destId="{648804CB-ACEE-4279-A47B-7619ACC129DA}" srcOrd="10" destOrd="0" presId="urn:microsoft.com/office/officeart/2005/8/layout/vProcess5"/>
    <dgm:cxn modelId="{FA77E63B-C7DD-4BFD-9FDC-B8D6A0DF6322}" type="presParOf" srcId="{750584B0-8F72-4FC1-8F04-083026C179E3}" destId="{DCDAC345-6EFC-4617-B060-A398A3B5EDA7}" srcOrd="11" destOrd="0" presId="urn:microsoft.com/office/officeart/2005/8/layout/vProcess5"/>
    <dgm:cxn modelId="{E49860D2-227F-4B48-819C-116BD7A442F5}" type="presParOf" srcId="{750584B0-8F72-4FC1-8F04-083026C179E3}" destId="{239EBAAD-A9F2-4983-BA09-0142B42F3C5B}" srcOrd="12" destOrd="0" presId="urn:microsoft.com/office/officeart/2005/8/layout/vProcess5"/>
    <dgm:cxn modelId="{F3682F0C-FB9C-4FA6-AFF4-6A0A7C81A708}" type="presParOf" srcId="{750584B0-8F72-4FC1-8F04-083026C179E3}" destId="{2B0D29CA-8368-4C6A-AC78-EDC662157495}" srcOrd="13" destOrd="0" presId="urn:microsoft.com/office/officeart/2005/8/layout/vProcess5"/>
    <dgm:cxn modelId="{F3F41BC3-8721-402F-AA6E-BDB69128C298}" type="presParOf" srcId="{750584B0-8F72-4FC1-8F04-083026C179E3}" destId="{A58BF65A-854D-4B64-9C96-D3C208D74267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EC8C0-9AF4-4C08-9FBE-E2B4BF8EDC03}">
      <dsp:nvSpPr>
        <dsp:cNvPr id="0" name=""/>
        <dsp:cNvSpPr/>
      </dsp:nvSpPr>
      <dsp:spPr>
        <a:xfrm>
          <a:off x="-144230" y="-58154"/>
          <a:ext cx="6225556" cy="844230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Разработана и создана система маршрутизации (навигации)</a:t>
          </a:r>
        </a:p>
      </dsp:txBody>
      <dsp:txXfrm>
        <a:off x="-119503" y="-33427"/>
        <a:ext cx="5215789" cy="794776"/>
      </dsp:txXfrm>
    </dsp:sp>
    <dsp:sp modelId="{FE366500-1CE0-4E21-ABD1-DA4624D064AC}">
      <dsp:nvSpPr>
        <dsp:cNvPr id="0" name=""/>
        <dsp:cNvSpPr/>
      </dsp:nvSpPr>
      <dsp:spPr>
        <a:xfrm>
          <a:off x="215826" y="849679"/>
          <a:ext cx="6225556" cy="844230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2. Осуществлен закуп путем выбора поставщика и заказа на изготовление стендов, указателей.</a:t>
          </a:r>
        </a:p>
      </dsp:txBody>
      <dsp:txXfrm>
        <a:off x="240553" y="874406"/>
        <a:ext cx="5162456" cy="794776"/>
      </dsp:txXfrm>
    </dsp:sp>
    <dsp:sp modelId="{B6A03898-272E-4EF0-AF67-078971E9CE25}">
      <dsp:nvSpPr>
        <dsp:cNvPr id="0" name=""/>
        <dsp:cNvSpPr/>
      </dsp:nvSpPr>
      <dsp:spPr>
        <a:xfrm>
          <a:off x="575883" y="1740105"/>
          <a:ext cx="6225556" cy="844230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Размещены указатели и стенды навигации для самостоятельного нахождения нужного объекта.</a:t>
          </a:r>
        </a:p>
      </dsp:txBody>
      <dsp:txXfrm>
        <a:off x="600610" y="1764832"/>
        <a:ext cx="5162456" cy="794776"/>
      </dsp:txXfrm>
    </dsp:sp>
    <dsp:sp modelId="{7B17664F-C9B3-4249-A8B8-C4D300FA926D}">
      <dsp:nvSpPr>
        <dsp:cNvPr id="0" name=""/>
        <dsp:cNvSpPr/>
      </dsp:nvSpPr>
      <dsp:spPr>
        <a:xfrm>
          <a:off x="1079937" y="2572313"/>
          <a:ext cx="6225556" cy="844230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Создан видеоролик «Виртуальная экскурсия» и размещён на официальном сайте ДОУ</a:t>
          </a:r>
        </a:p>
      </dsp:txBody>
      <dsp:txXfrm>
        <a:off x="1104664" y="2597040"/>
        <a:ext cx="5162456" cy="794776"/>
      </dsp:txXfrm>
    </dsp:sp>
    <dsp:sp modelId="{6EA6D48D-BAD0-473B-A278-4CF37A911351}">
      <dsp:nvSpPr>
        <dsp:cNvPr id="0" name=""/>
        <dsp:cNvSpPr/>
      </dsp:nvSpPr>
      <dsp:spPr>
        <a:xfrm>
          <a:off x="1338175" y="3483685"/>
          <a:ext cx="6920764" cy="1076850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5. Анализ проделанной работы. Анкетирование родителей (законных представителей) «О создании навигации на территории ДОУ»</a:t>
          </a:r>
        </a:p>
      </dsp:txBody>
      <dsp:txXfrm>
        <a:off x="1369715" y="3515225"/>
        <a:ext cx="5730844" cy="1013770"/>
      </dsp:txXfrm>
    </dsp:sp>
    <dsp:sp modelId="{AE9552E2-4F18-4949-BE6B-3424A9372BC7}">
      <dsp:nvSpPr>
        <dsp:cNvPr id="0" name=""/>
        <dsp:cNvSpPr/>
      </dsp:nvSpPr>
      <dsp:spPr>
        <a:xfrm>
          <a:off x="5503004" y="558602"/>
          <a:ext cx="548750" cy="548750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500" kern="1200">
            <a:solidFill>
              <a:srgbClr val="002060"/>
            </a:solidFill>
          </a:endParaRPr>
        </a:p>
      </dsp:txBody>
      <dsp:txXfrm>
        <a:off x="5626473" y="558602"/>
        <a:ext cx="301812" cy="412934"/>
      </dsp:txXfrm>
    </dsp:sp>
    <dsp:sp modelId="{03E2DFB3-AB61-455F-9BB7-2E64B786D895}">
      <dsp:nvSpPr>
        <dsp:cNvPr id="0" name=""/>
        <dsp:cNvSpPr/>
      </dsp:nvSpPr>
      <dsp:spPr>
        <a:xfrm>
          <a:off x="5967899" y="1520087"/>
          <a:ext cx="548750" cy="548750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500" kern="1200"/>
        </a:p>
      </dsp:txBody>
      <dsp:txXfrm>
        <a:off x="6091368" y="1520087"/>
        <a:ext cx="301812" cy="412934"/>
      </dsp:txXfrm>
    </dsp:sp>
    <dsp:sp modelId="{D89A8CAC-EB46-4693-A9F5-A064E8EFDD0C}">
      <dsp:nvSpPr>
        <dsp:cNvPr id="0" name=""/>
        <dsp:cNvSpPr/>
      </dsp:nvSpPr>
      <dsp:spPr>
        <a:xfrm>
          <a:off x="6432795" y="2467502"/>
          <a:ext cx="548750" cy="548750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500" kern="1200"/>
        </a:p>
      </dsp:txBody>
      <dsp:txXfrm>
        <a:off x="6556264" y="2467502"/>
        <a:ext cx="301812" cy="412934"/>
      </dsp:txXfrm>
    </dsp:sp>
    <dsp:sp modelId="{7B365600-431D-4308-99D7-92F1861F9C31}">
      <dsp:nvSpPr>
        <dsp:cNvPr id="0" name=""/>
        <dsp:cNvSpPr/>
      </dsp:nvSpPr>
      <dsp:spPr>
        <a:xfrm>
          <a:off x="6897690" y="3438367"/>
          <a:ext cx="548750" cy="548750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500" kern="1200"/>
        </a:p>
      </dsp:txBody>
      <dsp:txXfrm>
        <a:off x="7021159" y="3438367"/>
        <a:ext cx="301812" cy="4129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DC8660-735F-4591-9556-7FCD49232E4A}">
      <dsp:nvSpPr>
        <dsp:cNvPr id="0" name=""/>
        <dsp:cNvSpPr/>
      </dsp:nvSpPr>
      <dsp:spPr>
        <a:xfrm>
          <a:off x="0" y="0"/>
          <a:ext cx="6225556" cy="8035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 этап. Разработка и создание системы маршрутизации (навигации).</a:t>
          </a:r>
        </a:p>
      </dsp:txBody>
      <dsp:txXfrm>
        <a:off x="23535" y="23535"/>
        <a:ext cx="5264472" cy="756459"/>
      </dsp:txXfrm>
    </dsp:sp>
    <dsp:sp modelId="{5AF2463E-2FE8-4294-8F19-4195CC4E26D5}">
      <dsp:nvSpPr>
        <dsp:cNvPr id="0" name=""/>
        <dsp:cNvSpPr/>
      </dsp:nvSpPr>
      <dsp:spPr>
        <a:xfrm>
          <a:off x="464895" y="915130"/>
          <a:ext cx="6225556" cy="8035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 этап. Осуществления закупа путем выбора поставщика и заказа на изготовление стендов, указателей.  </a:t>
          </a:r>
        </a:p>
      </dsp:txBody>
      <dsp:txXfrm>
        <a:off x="488430" y="938665"/>
        <a:ext cx="5191296" cy="756459"/>
      </dsp:txXfrm>
    </dsp:sp>
    <dsp:sp modelId="{B98D5E4A-B045-4E79-BB10-49C851D0621F}">
      <dsp:nvSpPr>
        <dsp:cNvPr id="0" name=""/>
        <dsp:cNvSpPr/>
      </dsp:nvSpPr>
      <dsp:spPr>
        <a:xfrm>
          <a:off x="929790" y="1830260"/>
          <a:ext cx="6225556" cy="8035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 этап. Размещение указателей и стендов навигации для самостоятельного нахождения маршрута. </a:t>
          </a:r>
        </a:p>
      </dsp:txBody>
      <dsp:txXfrm>
        <a:off x="953325" y="1853795"/>
        <a:ext cx="5191296" cy="756459"/>
      </dsp:txXfrm>
    </dsp:sp>
    <dsp:sp modelId="{A8CE18F9-A2A4-4C1C-A66B-3B0EAF6A2DC1}">
      <dsp:nvSpPr>
        <dsp:cNvPr id="0" name=""/>
        <dsp:cNvSpPr/>
      </dsp:nvSpPr>
      <dsp:spPr>
        <a:xfrm>
          <a:off x="1394686" y="2745390"/>
          <a:ext cx="6225556" cy="8035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 этап. Самостоятельное нахождение вновь прибывшими родителями (законными представителями) нужного объекта на территории ДОУ, входной двери. </a:t>
          </a:r>
        </a:p>
      </dsp:txBody>
      <dsp:txXfrm>
        <a:off x="1418221" y="2768925"/>
        <a:ext cx="5191296" cy="756459"/>
      </dsp:txXfrm>
    </dsp:sp>
    <dsp:sp modelId="{FD70164B-C861-4B93-9FE8-2834F558C527}">
      <dsp:nvSpPr>
        <dsp:cNvPr id="0" name=""/>
        <dsp:cNvSpPr/>
      </dsp:nvSpPr>
      <dsp:spPr>
        <a:xfrm>
          <a:off x="1859581" y="3660521"/>
          <a:ext cx="6225556" cy="8035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5 этап. Анализ проделанной работы. Анкетирование родителей (законных представителей) «О создании навигации на территории ДОУ»</a:t>
          </a:r>
          <a:endParaRPr lang="ru-RU" sz="1600" kern="1200" dirty="0"/>
        </a:p>
      </dsp:txBody>
      <dsp:txXfrm>
        <a:off x="1883116" y="3684056"/>
        <a:ext cx="5191296" cy="756459"/>
      </dsp:txXfrm>
    </dsp:sp>
    <dsp:sp modelId="{5C935165-7D5D-462C-9D37-39BC68BEBF82}">
      <dsp:nvSpPr>
        <dsp:cNvPr id="0" name=""/>
        <dsp:cNvSpPr/>
      </dsp:nvSpPr>
      <dsp:spPr>
        <a:xfrm>
          <a:off x="5703262" y="58702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300" kern="1200">
            <a:solidFill>
              <a:srgbClr val="002060"/>
            </a:solidFill>
          </a:endParaRPr>
        </a:p>
      </dsp:txBody>
      <dsp:txXfrm>
        <a:off x="5820778" y="587022"/>
        <a:ext cx="287261" cy="393025"/>
      </dsp:txXfrm>
    </dsp:sp>
    <dsp:sp modelId="{024BB3C3-164D-4139-B511-4A0BA1394048}">
      <dsp:nvSpPr>
        <dsp:cNvPr id="0" name=""/>
        <dsp:cNvSpPr/>
      </dsp:nvSpPr>
      <dsp:spPr>
        <a:xfrm>
          <a:off x="6168157" y="150215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300" kern="1200"/>
        </a:p>
      </dsp:txBody>
      <dsp:txXfrm>
        <a:off x="6285673" y="1502152"/>
        <a:ext cx="287261" cy="393025"/>
      </dsp:txXfrm>
    </dsp:sp>
    <dsp:sp modelId="{3FE72735-C986-4E9C-95BA-26AF915BB6C3}">
      <dsp:nvSpPr>
        <dsp:cNvPr id="0" name=""/>
        <dsp:cNvSpPr/>
      </dsp:nvSpPr>
      <dsp:spPr>
        <a:xfrm>
          <a:off x="6633053" y="2403890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300" kern="1200"/>
        </a:p>
      </dsp:txBody>
      <dsp:txXfrm>
        <a:off x="6750569" y="2403890"/>
        <a:ext cx="287261" cy="393025"/>
      </dsp:txXfrm>
    </dsp:sp>
    <dsp:sp modelId="{C9B74775-87F6-486E-82D1-883F0961C390}">
      <dsp:nvSpPr>
        <dsp:cNvPr id="0" name=""/>
        <dsp:cNvSpPr/>
      </dsp:nvSpPr>
      <dsp:spPr>
        <a:xfrm>
          <a:off x="7097948" y="3327949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300" kern="1200"/>
        </a:p>
      </dsp:txBody>
      <dsp:txXfrm>
        <a:off x="7215464" y="3327949"/>
        <a:ext cx="287261" cy="3930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0" cy="493474"/>
          </a:xfrm>
          <a:prstGeom prst="rect">
            <a:avLst/>
          </a:prstGeom>
        </p:spPr>
        <p:txBody>
          <a:bodyPr vert="horz" lIns="90772" tIns="45386" rIns="90772" bIns="4538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1"/>
            <a:ext cx="2918830" cy="493474"/>
          </a:xfrm>
          <a:prstGeom prst="rect">
            <a:avLst/>
          </a:prstGeom>
        </p:spPr>
        <p:txBody>
          <a:bodyPr vert="horz" lIns="90772" tIns="45386" rIns="90772" bIns="45386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4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72" tIns="45386" rIns="90772" bIns="4538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8008"/>
            <a:ext cx="5388610" cy="4441269"/>
          </a:xfrm>
          <a:prstGeom prst="rect">
            <a:avLst/>
          </a:prstGeom>
        </p:spPr>
        <p:txBody>
          <a:bodyPr vert="horz" lIns="90772" tIns="45386" rIns="90772" bIns="4538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4302"/>
            <a:ext cx="2918830" cy="493474"/>
          </a:xfrm>
          <a:prstGeom prst="rect">
            <a:avLst/>
          </a:prstGeom>
        </p:spPr>
        <p:txBody>
          <a:bodyPr vert="horz" lIns="90772" tIns="45386" rIns="90772" bIns="4538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4302"/>
            <a:ext cx="2918830" cy="493474"/>
          </a:xfrm>
          <a:prstGeom prst="rect">
            <a:avLst/>
          </a:prstGeom>
        </p:spPr>
        <p:txBody>
          <a:bodyPr vert="horz" lIns="90772" tIns="45386" rIns="90772" bIns="45386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2.tif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tiff"/><Relationship Id="rId5" Type="http://schemas.openxmlformats.org/officeDocument/2006/relationships/image" Target="../media/image20.tiff"/><Relationship Id="rId4" Type="http://schemas.openxmlformats.org/officeDocument/2006/relationships/image" Target="../media/image19.tif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gif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747168" y="796469"/>
            <a:ext cx="762401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Детский сад № 283 г. Челябинска»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15683" y="1274117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95936" y="5119241"/>
            <a:ext cx="477956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аведующий МБДОУ«ДС№283 г. Челябинска»</a:t>
            </a:r>
          </a:p>
          <a:p>
            <a:pPr>
              <a:spcAft>
                <a:spcPts val="0"/>
              </a:spcAft>
            </a:pP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Тореева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Екатерина Юрьевн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539552" y="2952394"/>
            <a:ext cx="7844457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навигации в образовательном пространстве муниципального дошкольного образовательного учреждения 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етский сад № 283 г. Челябинска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3</a:t>
            </a: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0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14 минут</a:t>
            </a: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0B7B87"/>
                </a:solidFill>
                <a:cs typeface="Arial" panose="020B0604020202020204" pitchFamily="34" charset="0"/>
              </a:rPr>
              <a:t>4 минуты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:  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10 минут - 77%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23528" y="5001267"/>
            <a:ext cx="82082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ОПТИМИЗАЦИИ ПРОЦЕССА МАРШРУТИЗАЦИИ (НАВИГАЦИИ) НА ТЕРРИТОРИИ ДОО ЧЕРЕЗ ВИЗУАЛИЗАЦИЮ (РАЗМЕЩЕНИЕ УКАЗАТЕЛЕЙ, СТЕНДОВ)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1988840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ФОТ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до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B47E8FE-4A20-4883-B30B-C5AB45F41B91}"/>
              </a:ext>
            </a:extLst>
          </p:cNvPr>
          <p:cNvSpPr/>
          <p:nvPr/>
        </p:nvSpPr>
        <p:spPr>
          <a:xfrm>
            <a:off x="1707751" y="3768450"/>
            <a:ext cx="14842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е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стенд)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1894818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ФОТ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после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781977" y="3760541"/>
            <a:ext cx="37598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ОТО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9" name="Рисунок 18" descr="gerd_mal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C7B17A5-BD2A-428F-AAC8-7F68CBE9ED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8340" y="1308417"/>
            <a:ext cx="3680083" cy="231431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B9658E4-4374-4DFF-BACC-68A36877B7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7003" y="3851491"/>
            <a:ext cx="3591420" cy="2298391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1F6B0AD-71BF-459B-9103-D8E06CCE70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570" y="4158372"/>
            <a:ext cx="2307622" cy="198376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C5DCC37-52AD-4E70-B1AF-7CDE62B880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2261" y="1308417"/>
            <a:ext cx="3451708" cy="2314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711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9" name="Рисунок 18" descr="gerd_mal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684AB9B-B787-43D0-9619-06556B08537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73" t="9089" r="6401" b="9143"/>
          <a:stretch/>
        </p:blipFill>
        <p:spPr>
          <a:xfrm>
            <a:off x="457200" y="5117824"/>
            <a:ext cx="3057391" cy="1569424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5CDAF41-9BB1-4045-AC2A-024C020BB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3200" y="761541"/>
            <a:ext cx="2409335" cy="133999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2F662F2-6078-4908-A75D-776A90BA30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3199" y="2202228"/>
            <a:ext cx="2409336" cy="13399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93641A-E954-4D8A-A41C-26DE4C4D45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9318" y="3629771"/>
            <a:ext cx="2409335" cy="14495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FA57998-9E18-4CA9-8425-6D874E542F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7420" y="761541"/>
            <a:ext cx="2409335" cy="149019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49DCF40-95FA-483A-A6D9-67C7621E00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07417" y="2288299"/>
            <a:ext cx="2409337" cy="144199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2C3E241-656D-4807-A596-F35C8F6335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9979" y="3751822"/>
            <a:ext cx="2416500" cy="132744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0EE84C7-009D-4D42-A513-230F0EBC8DD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44948" y="5308693"/>
            <a:ext cx="2416500" cy="138254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D36E4A3-5F7D-499D-9203-E81C0ED4DDE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" r="51573"/>
          <a:stretch/>
        </p:blipFill>
        <p:spPr>
          <a:xfrm>
            <a:off x="181465" y="806745"/>
            <a:ext cx="3690469" cy="42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20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BBD6D2FB-10C4-461E-B9A9-D9A1659A4B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7808" y="416756"/>
            <a:ext cx="7772400" cy="5365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на  навигационном стенде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151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4A5C9E2-E9DF-4B11-A5AB-2E541C0642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11" y="920870"/>
            <a:ext cx="2358339" cy="333543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9CA9920-99D0-41B0-A576-B6D3997CB25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043" y="882945"/>
            <a:ext cx="2358339" cy="333543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61784C7-2C5F-40B2-AB88-23CECC2376C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543277" y="3616609"/>
            <a:ext cx="2685144" cy="3797638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4FD3A2FA-002C-43D2-8D94-32A747ADCC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292" y="847919"/>
            <a:ext cx="2188355" cy="3324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8016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844" y="767536"/>
            <a:ext cx="8219256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реализации процесса (алгоритм)</a:t>
            </a:r>
            <a:b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навигации в образовательном пространстве ДОУ»</a:t>
            </a: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9548178"/>
              </p:ext>
            </p:extLst>
          </p:nvPr>
        </p:nvGraphicFramePr>
        <p:xfrm>
          <a:off x="539750" y="1628775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093452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539023" y="828007"/>
            <a:ext cx="7080977" cy="1015663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бро пожаловать в МБДОУ «ДС № 283 г. Челябинска»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http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://mbdou283.ucoz.net/index/berezhlivoe_obrazovanie/0-84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0034" y="2214554"/>
            <a:ext cx="8358246" cy="428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2" name="Picture 4" descr="http://qrcoder.ru/code/?https%3A%2F%2Fmbdou283.ucoz.net%2Findex%2Fberezhlivoe_obrazovanie%2F0-84&amp;3&amp;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572396" y="857232"/>
            <a:ext cx="1357322" cy="1357322"/>
          </a:xfrm>
          <a:prstGeom prst="rect">
            <a:avLst/>
          </a:prstGeom>
          <a:noFill/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3BC4D74-E0D8-4528-BEE7-21AB52B3F9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6152" y="58015"/>
            <a:ext cx="743566" cy="743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5380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6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747168" y="796469"/>
            <a:ext cx="762401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Детский сад № 283 г. Челябинска»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15683" y="1274117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95936" y="5119241"/>
            <a:ext cx="477956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аведующий МБДОУ«ДС№283 г. Челябинска»</a:t>
            </a:r>
          </a:p>
          <a:p>
            <a:pPr>
              <a:spcAft>
                <a:spcPts val="0"/>
              </a:spcAft>
            </a:pP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Тореева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Екатерина Юрьевн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539552" y="2952394"/>
            <a:ext cx="7844457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навигации в образовательном пространстве муниципального дошкольного образовательного учреждения 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етский сад № 283 г. Челябинска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3</a:t>
            </a: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93714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B046733-D201-44CA-AB77-3F332ACE46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84652" y="-467712"/>
            <a:ext cx="5437413" cy="769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1052453" y="114157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14 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68544"/>
              </p:ext>
            </p:extLst>
          </p:nvPr>
        </p:nvGraphicFramePr>
        <p:xfrm>
          <a:off x="505271" y="1630736"/>
          <a:ext cx="1751856" cy="182268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 Вновь прибывший родитель (законный представитель), гости, социальные партнеры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ход на территорию ДОУ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121151"/>
              </p:ext>
            </p:extLst>
          </p:nvPr>
        </p:nvGraphicFramePr>
        <p:xfrm>
          <a:off x="4906923" y="4537232"/>
          <a:ext cx="3928268" cy="18592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Отсутствие навигации на территории ДОУ;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одители, гости и социальные партнёры не ориентируются на территории ДОУ;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е соблюдение правил поведения на территории ДОУ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>
                          <a:latin typeface="Times New Roman" pitchFamily="18" charset="0"/>
                          <a:cs typeface="Times New Roman" pitchFamily="18" charset="0"/>
                        </a:rPr>
                        <a:t>4. Привлечение персонала на указание маршрута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33525" y="1829134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563888" y="471618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859338" y="413575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1982699" y="1118731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7445434" y="111473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800457" y="114886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r>
              <a:rPr lang="en-US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«Оптимизация процесса навигации в образовательном пространстве ДОУ»</a:t>
            </a: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425254"/>
              </p:ext>
            </p:extLst>
          </p:nvPr>
        </p:nvGraphicFramePr>
        <p:xfrm>
          <a:off x="3155067" y="1622738"/>
          <a:ext cx="1751856" cy="19202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овь прибывший родитель (законный представитель), гости, социальные партнер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амостоятельный поиск нужного прогулочного участка, входной двери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444636"/>
              </p:ext>
            </p:extLst>
          </p:nvPr>
        </p:nvGraphicFramePr>
        <p:xfrm>
          <a:off x="5920053" y="1657044"/>
          <a:ext cx="2108331" cy="162468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08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лучайный сотрудник/родитель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643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ъясняет или провожает 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о нужного объекта на территории ДОУ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153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936111" y="114157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702122" y="115221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5248972" y="1988379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499402" y="199954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6" name="Таблица 45">
            <a:extLst>
              <a:ext uri="{FF2B5EF4-FFF2-40B4-BE49-F238E27FC236}">
                <a16:creationId xmlns:a16="http://schemas.microsoft.com/office/drawing/2014/main" id="{B1F3FBB7-6302-40DB-ACFA-6C8DA321C1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403048"/>
              </p:ext>
            </p:extLst>
          </p:nvPr>
        </p:nvGraphicFramePr>
        <p:xfrm>
          <a:off x="505271" y="4490032"/>
          <a:ext cx="2407148" cy="179232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407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овь прибывший родитель (законный представитель), гости, социальные партнер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643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вершение поиска нужного объекта на территории ДОУ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153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A89816E-9DF9-4F55-9973-44CBBED92470}"/>
              </a:ext>
            </a:extLst>
          </p:cNvPr>
          <p:cNvSpPr/>
          <p:nvPr/>
        </p:nvSpPr>
        <p:spPr>
          <a:xfrm>
            <a:off x="1038648" y="395557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8" name="Пятно 1 60">
            <a:extLst>
              <a:ext uri="{FF2B5EF4-FFF2-40B4-BE49-F238E27FC236}">
                <a16:creationId xmlns:a16="http://schemas.microsoft.com/office/drawing/2014/main" id="{C07D39C7-99B3-491B-BF50-F682F3AE6D3C}"/>
              </a:ext>
            </a:extLst>
          </p:cNvPr>
          <p:cNvSpPr/>
          <p:nvPr/>
        </p:nvSpPr>
        <p:spPr>
          <a:xfrm>
            <a:off x="1908968" y="389815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0E3F9B4-40FE-422D-88EC-4343E65A65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6888" y="1999542"/>
            <a:ext cx="438950" cy="50601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9396940"/>
              </p:ext>
            </p:extLst>
          </p:nvPr>
        </p:nvGraphicFramePr>
        <p:xfrm>
          <a:off x="361949" y="1484784"/>
          <a:ext cx="7954467" cy="3993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сутствие навигации на территории ДОУ.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системы навигации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оздание навигации на территории дошкольного учреждения. 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Родители, гости и социальные партнёры не ориентируются на территории ДОУ.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сведомленность родителей о расположении объектов на  территории ДОУ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работка и установка условных обозначений по территории ДОУ; Создание виртуальной экскурсии на официальном сайте ДОУ по территории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е соблюдение правил поведения на территории ДОУ.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алгоритмов соблюдения правил поведения на территории дошкольного учреждения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работка и установка алгоритмов поведения на территории ДОУ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Привлечение персонала на указание маршрута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визуальных знаков на территории ДОУ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мещение указателей и стендов навигации для самостоятельного нахождения маршрута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 не выявлен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3777606"/>
            <a:ext cx="3865563" cy="23723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тсутствие навигации на территории ДОУ;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одители, гости и социальные партнёры не ориентируются на территории ДОУ;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е соблюдение правил поведения на территории ДОУ.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alt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влечение персонала на указание маршрут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475656" y="466931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26990" y="466931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275856" y="550625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0074" y="565602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4 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7122201" y="2670458"/>
            <a:ext cx="300588" cy="147892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423553" y="2797851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00008" y="769355"/>
            <a:ext cx="88936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процесса </a:t>
            </a:r>
            <a:r>
              <a:rPr lang="ru-RU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lvl="0" algn="ctr"/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навигации в образовательном пространстве ДОУ»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966949"/>
              </p:ext>
            </p:extLst>
          </p:nvPr>
        </p:nvGraphicFramePr>
        <p:xfrm>
          <a:off x="1161902" y="2498576"/>
          <a:ext cx="1751856" cy="182268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частник процесса Вновь прибывший родитель (законный представитель), гости, социальные партнеры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ход на территорию ДОУ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2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655352" y="188954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3635896" y="2813393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676487"/>
              </p:ext>
            </p:extLst>
          </p:nvPr>
        </p:nvGraphicFramePr>
        <p:xfrm>
          <a:off x="4665576" y="2471272"/>
          <a:ext cx="1751856" cy="20878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214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овь прибывший родитель (законный представитель), гости, социальные партнер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амостоятельный поиск и завершение поиска нужного объекта на территории ДОУ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1" name="Прямоугольник 40"/>
          <p:cNvSpPr/>
          <p:nvPr/>
        </p:nvSpPr>
        <p:spPr>
          <a:xfrm>
            <a:off x="5185016" y="186893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538849" y="174767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2961126" y="2090543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6128240" y="1706137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1520064" y="4654339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42865"/>
              </p:ext>
            </p:extLst>
          </p:nvPr>
        </p:nvGraphicFramePr>
        <p:xfrm>
          <a:off x="4600101" y="4732539"/>
          <a:ext cx="4028977" cy="17611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28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96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. Разработка и создание системы навигации и визуализации образовательного пространства ДОУ;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6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 Размещение указателей и стендов навигации для самостоятельного нахождения маршрута;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6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 Создание видеоролика «Виртуальная экскурсия» и размещение его на официальном сайте ДОУ;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0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. Сокращение времени </a:t>
                      </a: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иска нужного объекта на территории ДОУ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444208" y="206496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6148055"/>
              </p:ext>
            </p:extLst>
          </p:nvPr>
        </p:nvGraphicFramePr>
        <p:xfrm>
          <a:off x="251619" y="1454358"/>
          <a:ext cx="8640761" cy="4769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0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682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r>
                        <a:rPr lang="ru-RU" sz="12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и (законные представители), гости, социальные партнеры не ориентируются на территории детского сада.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.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Разработка и установка условных обозначений по территории ДОУ.</a:t>
                      </a:r>
                    </a:p>
                    <a:p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.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виртуальной экскурсии на официальном сайте ДОУ по территории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хорукова С.В., Новикова М.Г. – старшие воспитатели, Чугуева Я. И. – учитель-логопед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ветлаков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. А. – инструктор по ФК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20.04.23-27.07.23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. Сокращение временных затрат родителей (законных представителей обучающихся),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остей и социальных партнеров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поиск нужного объекта при в ходе на территорию ДОУ не более 7 минут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. Повышение удовлетворенности родителей (законных представителей)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разовательным пространством ДОУ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навигации на территории детского сада.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навигации на территории дошкольного учреждения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ухорукова С.В., Новикова М.Г. – старшие воспитатели;</a:t>
                      </a:r>
                    </a:p>
                    <a:p>
                      <a:pPr algn="l"/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ТГ педагогов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.04.23-27.07.23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 системы навигации на территории ДОУ, удовлетворенность родителей/посетителей процессом навигации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Несоблюдение правил поведения на территории детского сада.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и установка алгоритмов поведения на территории ДОУ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Сухорукова С.В., Новикова М.Г. – старшие воспитатели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ТГ педагогов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20.04.23-27.07.23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конфликтных ситуации между участниками образовательных отношений. Соблюдение правил поведения на территории ДОУ.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844" y="767536"/>
            <a:ext cx="8219256" cy="634082"/>
          </a:xfrm>
        </p:spPr>
        <p:txBody>
          <a:bodyPr>
            <a:normAutofit fontScale="90000"/>
          </a:bodyPr>
          <a:lstStyle/>
          <a:p>
            <a:pPr lvl="0">
              <a:spcBef>
                <a:spcPts val="0"/>
              </a:spcBef>
            </a:pP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мероприятий </a:t>
            </a:r>
            <a:b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«Оптимизация процесса навигации в образовательном пространстве ДОУ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5658610"/>
              </p:ext>
            </p:extLst>
          </p:nvPr>
        </p:nvGraphicFramePr>
        <p:xfrm>
          <a:off x="539750" y="1628774"/>
          <a:ext cx="8085138" cy="46901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2803" y="6237312"/>
            <a:ext cx="6338692" cy="441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тились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ременные затраты родителей (законных представителей обучающихся) на поиск нужного объекта на территории ДОУ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14 минут до 4 минут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</a:rPr>
              <a:t>Повысился уровень удовлетворенности вновь прибывших родителей (законных представителей)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</a:rPr>
              <a:t>образовательным пространством ДОУ наличием навигации на территории детского сада по итогам анкетирования с 60% до 95%</a:t>
            </a:r>
            <a:endParaRPr lang="ru-RU" sz="16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8640377A-007D-4223-9A7D-804A80B750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6477583"/>
              </p:ext>
            </p:extLst>
          </p:nvPr>
        </p:nvGraphicFramePr>
        <p:xfrm>
          <a:off x="1278496" y="3429000"/>
          <a:ext cx="3024336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A847E2F1-AF53-4F83-B13F-2B1E377C35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1021268"/>
              </p:ext>
            </p:extLst>
          </p:nvPr>
        </p:nvGraphicFramePr>
        <p:xfrm>
          <a:off x="4656579" y="3378464"/>
          <a:ext cx="3480048" cy="2267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2</TotalTime>
  <Words>1223</Words>
  <Application>Microsoft Office PowerPoint</Application>
  <PresentationFormat>Экран (4:3)</PresentationFormat>
  <Paragraphs>211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Администрация города Челябинска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Выполнение плана мероприятий  «Оптимизация процесса навигации в образовательном пространстве ДОУ»</vt:lpstr>
      <vt:lpstr>Презентация PowerPoint</vt:lpstr>
      <vt:lpstr>Достигнутые результаты (было и стало) </vt:lpstr>
      <vt:lpstr>Презентация PowerPoint</vt:lpstr>
      <vt:lpstr>Презентация PowerPoint</vt:lpstr>
      <vt:lpstr>Информация на  навигационном стенде </vt:lpstr>
      <vt:lpstr>Стандарт реализации процесса (алгоритм) «Оптимизация процесса навигации в образовательном пространстве ДОУ»</vt:lpstr>
      <vt:lpstr>Презентация PowerPoint</vt:lpstr>
      <vt:lpstr>Администрация города Челябинск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99</cp:revision>
  <cp:lastPrinted>2023-11-02T08:25:35Z</cp:lastPrinted>
  <dcterms:created xsi:type="dcterms:W3CDTF">2018-08-20T14:01:12Z</dcterms:created>
  <dcterms:modified xsi:type="dcterms:W3CDTF">2023-11-14T07:51:56Z</dcterms:modified>
</cp:coreProperties>
</file>